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3"/>
  </p:notesMasterIdLst>
  <p:sldIdLst>
    <p:sldId id="257" r:id="rId2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Google Sans" panose="020B0604020202020204" charset="0"/>
      <p:regular r:id="rId8"/>
      <p:bold r:id="rId9"/>
      <p:italic r:id="rId10"/>
      <p:boldItalic r:id="rId11"/>
    </p:embeddedFont>
    <p:embeddedFont>
      <p:font typeface="Roboto" panose="02000000000000000000" pitchFamily="2" charset="0"/>
      <p:regular r:id="rId12"/>
      <p:bold r:id="rId13"/>
      <p:italic r:id="rId14"/>
      <p:boldItalic r:id="rId15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33" d="100"/>
          <a:sy n="133" d="100"/>
        </p:scale>
        <p:origin x="906" y="12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5.fntdata"/><Relationship Id="rId13" Type="http://schemas.openxmlformats.org/officeDocument/2006/relationships/font" Target="fonts/font10.fntdata"/><Relationship Id="rId1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4.fntdata"/><Relationship Id="rId12" Type="http://schemas.openxmlformats.org/officeDocument/2006/relationships/font" Target="fonts/font9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font" Target="fonts/font8.fntdata"/><Relationship Id="rId5" Type="http://schemas.openxmlformats.org/officeDocument/2006/relationships/font" Target="fonts/font2.fntdata"/><Relationship Id="rId15" Type="http://schemas.openxmlformats.org/officeDocument/2006/relationships/font" Target="fonts/font12.fntdata"/><Relationship Id="rId10" Type="http://schemas.openxmlformats.org/officeDocument/2006/relationships/font" Target="fonts/font7.fntdata"/><Relationship Id="rId19" Type="http://schemas.openxmlformats.org/officeDocument/2006/relationships/tableStyles" Target="tableStyles.xml"/><Relationship Id="rId4" Type="http://schemas.openxmlformats.org/officeDocument/2006/relationships/font" Target="fonts/font1.fntdata"/><Relationship Id="rId9" Type="http://schemas.openxmlformats.org/officeDocument/2006/relationships/font" Target="fonts/font6.fntdata"/><Relationship Id="rId14" Type="http://schemas.openxmlformats.org/officeDocument/2006/relationships/font" Target="fonts/font11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orrin T Johnson" userId="519a8439-08ba-48ac-af5f-fb81b8b7f100" providerId="ADAL" clId="{7DBFF773-FB96-4AF5-8163-EA4F3FA24A14}"/>
    <pc:docChg chg="delSld">
      <pc:chgData name="Lorrin T Johnson" userId="519a8439-08ba-48ac-af5f-fb81b8b7f100" providerId="ADAL" clId="{7DBFF773-FB96-4AF5-8163-EA4F3FA24A14}" dt="2024-10-29T16:22:43.089" v="0" actId="2696"/>
      <pc:docMkLst>
        <pc:docMk/>
      </pc:docMkLst>
      <pc:sldChg chg="del">
        <pc:chgData name="Lorrin T Johnson" userId="519a8439-08ba-48ac-af5f-fb81b8b7f100" providerId="ADAL" clId="{7DBFF773-FB96-4AF5-8163-EA4F3FA24A14}" dt="2024-10-29T16:22:43.089" v="0" actId="2696"/>
        <pc:sldMkLst>
          <pc:docMk/>
          <pc:sldMk cId="0" sldId="256"/>
        </pc:sldMkLst>
      </pc:sldChg>
      <pc:sldMasterChg chg="delSldLayout">
        <pc:chgData name="Lorrin T Johnson" userId="519a8439-08ba-48ac-af5f-fb81b8b7f100" providerId="ADAL" clId="{7DBFF773-FB96-4AF5-8163-EA4F3FA24A14}" dt="2024-10-29T16:22:43.089" v="0" actId="2696"/>
        <pc:sldMasterMkLst>
          <pc:docMk/>
          <pc:sldMasterMk cId="0" sldId="2147483659"/>
        </pc:sldMasterMkLst>
        <pc:sldLayoutChg chg="del">
          <pc:chgData name="Lorrin T Johnson" userId="519a8439-08ba-48ac-af5f-fb81b8b7f100" providerId="ADAL" clId="{7DBFF773-FB96-4AF5-8163-EA4F3FA24A14}" dt="2024-10-29T16:22:43.089" v="0" actId="2696"/>
          <pc:sldLayoutMkLst>
            <pc:docMk/>
            <pc:sldMasterMk cId="0" sldId="2147483659"/>
            <pc:sldLayoutMk cId="0" sldId="2147483650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ACE5B25-A0A1-18DD-9486-6026C3C43B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94967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7" imgH="348" progId="TCLayout.ActiveDocument.1">
                  <p:embed/>
                </p:oleObj>
              </mc:Choice>
              <mc:Fallback>
                <p:oleObj name="think-cell Slide" r:id="rId13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CE5B25-A0A1-18DD-9486-6026C3C43B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A9C408F-FDC2-DE54-EA0C-13611E995B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841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9C408F-FDC2-DE54-EA0C-13611E995B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C777AA2B-C150-3405-2216-29D0326803F8}"/>
              </a:ext>
            </a:extLst>
          </p:cNvPr>
          <p:cNvGrpSpPr/>
          <p:nvPr/>
        </p:nvGrpSpPr>
        <p:grpSpPr>
          <a:xfrm>
            <a:off x="52401" y="399200"/>
            <a:ext cx="6790622" cy="4619200"/>
            <a:chOff x="52400" y="399200"/>
            <a:chExt cx="8463982" cy="4685400"/>
          </a:xfrm>
        </p:grpSpPr>
        <p:grpSp>
          <p:nvGrpSpPr>
            <p:cNvPr id="60" name="Google Shape;60;p14"/>
            <p:cNvGrpSpPr/>
            <p:nvPr/>
          </p:nvGrpSpPr>
          <p:grpSpPr>
            <a:xfrm>
              <a:off x="52400" y="399200"/>
              <a:ext cx="5417400" cy="4685400"/>
              <a:chOff x="52400" y="399200"/>
              <a:chExt cx="5417400" cy="4685400"/>
            </a:xfrm>
          </p:grpSpPr>
          <p:sp>
            <p:nvSpPr>
              <p:cNvPr id="61" name="Google Shape;61;p14"/>
              <p:cNvSpPr/>
              <p:nvPr/>
            </p:nvSpPr>
            <p:spPr>
              <a:xfrm>
                <a:off x="52400" y="399200"/>
                <a:ext cx="5417400" cy="4685400"/>
              </a:xfrm>
              <a:prstGeom prst="triangle">
                <a:avLst>
                  <a:gd name="adj" fmla="val 50000"/>
                </a:avLst>
              </a:prstGeom>
              <a:solidFill>
                <a:schemeClr val="accent1"/>
              </a:solidFill>
              <a:ln w="28575" cap="flat" cmpd="sng">
                <a:solidFill>
                  <a:srgbClr val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100"/>
              </a:p>
            </p:txBody>
          </p:sp>
          <p:cxnSp>
            <p:nvCxnSpPr>
              <p:cNvPr id="62" name="Google Shape;62;p14"/>
              <p:cNvCxnSpPr/>
              <p:nvPr/>
            </p:nvCxnSpPr>
            <p:spPr>
              <a:xfrm>
                <a:off x="2174888" y="1426450"/>
                <a:ext cx="1162500" cy="0"/>
              </a:xfrm>
              <a:prstGeom prst="straightConnector1">
                <a:avLst/>
              </a:prstGeom>
              <a:noFill/>
              <a:ln w="2857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63" name="Google Shape;63;p14"/>
              <p:cNvCxnSpPr/>
              <p:nvPr/>
            </p:nvCxnSpPr>
            <p:spPr>
              <a:xfrm>
                <a:off x="1714500" y="2214625"/>
                <a:ext cx="2094000" cy="0"/>
              </a:xfrm>
              <a:prstGeom prst="straightConnector1">
                <a:avLst/>
              </a:prstGeom>
              <a:noFill/>
              <a:ln w="2857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64" name="Google Shape;64;p14"/>
              <p:cNvCxnSpPr/>
              <p:nvPr/>
            </p:nvCxnSpPr>
            <p:spPr>
              <a:xfrm>
                <a:off x="1269525" y="2976625"/>
                <a:ext cx="2970900" cy="0"/>
              </a:xfrm>
              <a:prstGeom prst="straightConnector1">
                <a:avLst/>
              </a:prstGeom>
              <a:noFill/>
              <a:ln w="2857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65" name="Google Shape;65;p14"/>
              <p:cNvCxnSpPr/>
              <p:nvPr/>
            </p:nvCxnSpPr>
            <p:spPr>
              <a:xfrm>
                <a:off x="903063" y="3665615"/>
                <a:ext cx="3729900" cy="0"/>
              </a:xfrm>
              <a:prstGeom prst="straightConnector1">
                <a:avLst/>
              </a:prstGeom>
              <a:noFill/>
              <a:ln w="2857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66" name="Google Shape;66;p14"/>
              <p:cNvCxnSpPr/>
              <p:nvPr/>
            </p:nvCxnSpPr>
            <p:spPr>
              <a:xfrm>
                <a:off x="484250" y="4351425"/>
                <a:ext cx="4541700" cy="0"/>
              </a:xfrm>
              <a:prstGeom prst="straightConnector1">
                <a:avLst/>
              </a:prstGeom>
              <a:noFill/>
              <a:ln w="2857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sp>
          <p:nvSpPr>
            <p:cNvPr id="67" name="Google Shape;67;p14"/>
            <p:cNvSpPr txBox="1"/>
            <p:nvPr/>
          </p:nvSpPr>
          <p:spPr>
            <a:xfrm>
              <a:off x="2424313" y="863775"/>
              <a:ext cx="805501" cy="4020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b="1" dirty="0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TTPs</a:t>
              </a:r>
              <a:endParaRPr b="1" dirty="0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sp>
          <p:nvSpPr>
            <p:cNvPr id="68" name="Google Shape;68;p14"/>
            <p:cNvSpPr txBox="1"/>
            <p:nvPr/>
          </p:nvSpPr>
          <p:spPr>
            <a:xfrm>
              <a:off x="2411226" y="1578950"/>
              <a:ext cx="805501" cy="4020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Tools</a:t>
              </a:r>
              <a:endParaRPr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sp>
          <p:nvSpPr>
            <p:cNvPr id="69" name="Google Shape;69;p14"/>
            <p:cNvSpPr txBox="1"/>
            <p:nvPr/>
          </p:nvSpPr>
          <p:spPr>
            <a:xfrm>
              <a:off x="1792100" y="2294125"/>
              <a:ext cx="1991400" cy="6185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Network/host artifacts</a:t>
              </a:r>
              <a:endParaRPr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sp>
          <p:nvSpPr>
            <p:cNvPr id="70" name="Google Shape;70;p14"/>
            <p:cNvSpPr txBox="1"/>
            <p:nvPr/>
          </p:nvSpPr>
          <p:spPr>
            <a:xfrm>
              <a:off x="1978962" y="3118675"/>
              <a:ext cx="2048700" cy="4020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Domain names</a:t>
              </a:r>
              <a:endParaRPr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sp>
          <p:nvSpPr>
            <p:cNvPr id="71" name="Google Shape;71;p14"/>
            <p:cNvSpPr txBox="1"/>
            <p:nvPr/>
          </p:nvSpPr>
          <p:spPr>
            <a:xfrm>
              <a:off x="1978962" y="3755325"/>
              <a:ext cx="2048700" cy="4020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IP addresses</a:t>
              </a:r>
              <a:endParaRPr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sp>
          <p:nvSpPr>
            <p:cNvPr id="72" name="Google Shape;72;p14"/>
            <p:cNvSpPr txBox="1"/>
            <p:nvPr/>
          </p:nvSpPr>
          <p:spPr>
            <a:xfrm>
              <a:off x="1978962" y="4457425"/>
              <a:ext cx="2048700" cy="4020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b="1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Hash values</a:t>
              </a:r>
              <a:endParaRPr b="1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  <p:cxnSp>
          <p:nvCxnSpPr>
            <p:cNvPr id="73" name="Google Shape;73;p14"/>
            <p:cNvCxnSpPr/>
            <p:nvPr/>
          </p:nvCxnSpPr>
          <p:spPr>
            <a:xfrm>
              <a:off x="3153753" y="1086374"/>
              <a:ext cx="3305213" cy="6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75" name="Google Shape;75;p14"/>
            <p:cNvCxnSpPr>
              <a:cxnSpLocks/>
              <a:endCxn id="76" idx="1"/>
            </p:cNvCxnSpPr>
            <p:nvPr/>
          </p:nvCxnSpPr>
          <p:spPr>
            <a:xfrm>
              <a:off x="3578829" y="1801549"/>
              <a:ext cx="1200110" cy="63674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77" name="Google Shape;77;p14"/>
            <p:cNvCxnSpPr>
              <a:cxnSpLocks/>
              <a:endCxn id="78" idx="1"/>
            </p:cNvCxnSpPr>
            <p:nvPr/>
          </p:nvCxnSpPr>
          <p:spPr>
            <a:xfrm>
              <a:off x="3986627" y="2571149"/>
              <a:ext cx="1300603" cy="74702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79" name="Google Shape;79;p14"/>
            <p:cNvCxnSpPr>
              <a:cxnSpLocks/>
              <a:endCxn id="80" idx="1"/>
            </p:cNvCxnSpPr>
            <p:nvPr/>
          </p:nvCxnSpPr>
          <p:spPr>
            <a:xfrm>
              <a:off x="4426181" y="3274536"/>
              <a:ext cx="1408913" cy="84784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1" name="Google Shape;81;p14"/>
            <p:cNvCxnSpPr>
              <a:cxnSpLocks/>
              <a:endCxn id="82" idx="1"/>
            </p:cNvCxnSpPr>
            <p:nvPr/>
          </p:nvCxnSpPr>
          <p:spPr>
            <a:xfrm>
              <a:off x="4835525" y="3977924"/>
              <a:ext cx="1509792" cy="94864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3" name="Google Shape;83;p14"/>
            <p:cNvCxnSpPr/>
            <p:nvPr/>
          </p:nvCxnSpPr>
          <p:spPr>
            <a:xfrm>
              <a:off x="5211170" y="4680024"/>
              <a:ext cx="3305212" cy="600"/>
            </a:xfrm>
            <a:prstGeom prst="bentConnector3">
              <a:avLst>
                <a:gd name="adj1" fmla="val 50000"/>
              </a:avLst>
            </a:prstGeom>
            <a:noFill/>
            <a:ln w="9525" cap="flat" cmpd="sng">
              <a:solidFill>
                <a:srgbClr val="C2C2C2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74" name="Google Shape;74;p14"/>
          <p:cNvSpPr/>
          <p:nvPr/>
        </p:nvSpPr>
        <p:spPr>
          <a:xfrm>
            <a:off x="3419411" y="399201"/>
            <a:ext cx="3643789" cy="1011552"/>
          </a:xfrm>
          <a:prstGeom prst="roundRect">
            <a:avLst>
              <a:gd name="adj" fmla="val 16667"/>
            </a:avLst>
          </a:prstGeom>
          <a:solidFill>
            <a:srgbClr val="D9EAD3"/>
          </a:solidFill>
          <a:ln>
            <a:noFill/>
          </a:ln>
        </p:spPr>
        <p:txBody>
          <a:bodyPr spcFirstLastPara="1" wrap="square" lIns="91425" tIns="91425" rIns="91425" bIns="91425" numCol="2" anchor="ctr" anchorCtr="0">
            <a:noAutofit/>
          </a:bodyPr>
          <a:lstStyle/>
          <a:p>
            <a:pPr marR="0" lvl="2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TRE ATT&amp;CK Tactics and Techniques:</a:t>
            </a:r>
          </a:p>
          <a:p>
            <a:pPr marL="115888" marR="0" lvl="2" indent="-115888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ecution: The malware executes unauthorized code.</a:t>
            </a:r>
          </a:p>
          <a:p>
            <a:pPr marL="115888" marR="0" lvl="2" indent="-115888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sistence: It maintains a foothold on the infected system.</a:t>
            </a:r>
          </a:p>
          <a:p>
            <a:pPr marL="115888" marR="0" lvl="2" indent="-115888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vilege Escalation: It gains higher-level permissions.</a:t>
            </a:r>
          </a:p>
          <a:p>
            <a:pPr marL="115888" marR="0" lvl="2" indent="-115888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fense Evasion: It avoids detection by security tools.</a:t>
            </a:r>
          </a:p>
          <a:p>
            <a:pPr marL="115888" marR="0" lvl="2" indent="-115888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endParaRPr lang="en-US" sz="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15888" marR="0" lvl="2" indent="-115888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redential Access: It steals credentials.</a:t>
            </a:r>
          </a:p>
          <a:p>
            <a:pPr marL="115888" marR="0" lvl="2" indent="-115888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covery: It gathers information about the system and network.</a:t>
            </a:r>
          </a:p>
          <a:p>
            <a:pPr marL="115888" marR="0" lvl="2" indent="-115888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ection: It collects data of interest.</a:t>
            </a:r>
          </a:p>
          <a:p>
            <a:pPr marL="115888" marR="0" lvl="2" indent="-115888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and and Control: It communicates with a remote server.</a:t>
            </a:r>
          </a:p>
          <a:p>
            <a:pPr marL="115888" marR="0" lvl="2" indent="-115888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"/>
            </a:pPr>
            <a:r>
              <a:rPr lang="en-US" sz="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act: It disrupts or manipulates system operations.</a:t>
            </a:r>
          </a:p>
          <a:p>
            <a:pPr marL="115888" lvl="0" indent="-115888" algn="ctr" rtl="0">
              <a:spcBef>
                <a:spcPts val="0"/>
              </a:spcBef>
              <a:spcAft>
                <a:spcPts val="0"/>
              </a:spcAft>
              <a:buNone/>
            </a:pPr>
            <a:endParaRPr sz="100" dirty="0">
              <a:solidFill>
                <a:schemeClr val="dk1"/>
              </a:solidFill>
              <a:latin typeface="Google Sans"/>
              <a:ea typeface="Google Sans"/>
              <a:cs typeface="Google Sans"/>
              <a:sym typeface="Google Sans"/>
            </a:endParaRPr>
          </a:p>
        </p:txBody>
      </p:sp>
      <p:sp>
        <p:nvSpPr>
          <p:cNvPr id="76" name="Google Shape;76;p14"/>
          <p:cNvSpPr/>
          <p:nvPr/>
        </p:nvSpPr>
        <p:spPr>
          <a:xfrm>
            <a:off x="3844486" y="1563090"/>
            <a:ext cx="3643789" cy="562837"/>
          </a:xfrm>
          <a:prstGeom prst="roundRect">
            <a:avLst>
              <a:gd name="adj" fmla="val 16667"/>
            </a:avLst>
          </a:prstGeom>
          <a:solidFill>
            <a:srgbClr val="D9EAD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malware used tools for creating malicious documents for spear phishing, backdoors for establishing command and control (C2), and password crackers.</a:t>
            </a:r>
            <a:endParaRPr sz="800" dirty="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78" name="Google Shape;78;p14"/>
          <p:cNvSpPr/>
          <p:nvPr/>
        </p:nvSpPr>
        <p:spPr>
          <a:xfrm>
            <a:off x="4252286" y="2332690"/>
            <a:ext cx="3643789" cy="562837"/>
          </a:xfrm>
          <a:prstGeom prst="roundRect">
            <a:avLst>
              <a:gd name="adj" fmla="val 16667"/>
            </a:avLst>
          </a:prstGeom>
          <a:solidFill>
            <a:srgbClr val="D9EAD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R="0" lvl="2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5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gistry Modifications: Several registry keys were opened, set, and deleted.</a:t>
            </a:r>
          </a:p>
          <a:p>
            <a:pPr marR="0" lvl="2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5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le System Actions: Multiple program files were opened, written, modified, dropped, and deleted.</a:t>
            </a:r>
            <a:endParaRPr sz="850" dirty="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80" name="Google Shape;80;p14"/>
          <p:cNvSpPr/>
          <p:nvPr/>
        </p:nvSpPr>
        <p:spPr>
          <a:xfrm>
            <a:off x="4691836" y="3036077"/>
            <a:ext cx="3643789" cy="562837"/>
          </a:xfrm>
          <a:prstGeom prst="roundRect">
            <a:avLst>
              <a:gd name="adj" fmla="val 16667"/>
            </a:avLst>
          </a:prstGeom>
          <a:solidFill>
            <a:srgbClr val="D9EAD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86303.dscx.akamaiedge.net </a:t>
            </a:r>
          </a:p>
          <a:p>
            <a:pPr algn="ctr"/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+96 others</a:t>
            </a:r>
          </a:p>
        </p:txBody>
      </p:sp>
      <p:sp>
        <p:nvSpPr>
          <p:cNvPr id="82" name="Google Shape;82;p14"/>
          <p:cNvSpPr/>
          <p:nvPr/>
        </p:nvSpPr>
        <p:spPr>
          <a:xfrm>
            <a:off x="5101186" y="3739465"/>
            <a:ext cx="3643789" cy="562837"/>
          </a:xfrm>
          <a:prstGeom prst="roundRect">
            <a:avLst>
              <a:gd name="adj" fmla="val 16667"/>
            </a:avLst>
          </a:prstGeom>
          <a:solidFill>
            <a:srgbClr val="D9EAD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P Address: 104.115.151.81</a:t>
            </a:r>
          </a:p>
          <a:p>
            <a:pPr algn="ctr"/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+419 others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4" name="Google Shape;84;p14"/>
          <p:cNvSpPr/>
          <p:nvPr/>
        </p:nvSpPr>
        <p:spPr>
          <a:xfrm>
            <a:off x="5387436" y="4441565"/>
            <a:ext cx="3643789" cy="562837"/>
          </a:xfrm>
          <a:prstGeom prst="roundRect">
            <a:avLst>
              <a:gd name="adj" fmla="val 16667"/>
            </a:avLst>
          </a:prstGeom>
          <a:solidFill>
            <a:srgbClr val="D9EAD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MD5: 287d612e29b71c90aa54947313810a25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SHA-1: 8f35a9e70dbec8f1904991773f394cd4f9a07f5e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4</Words>
  <Application>Microsoft Office PowerPoint</Application>
  <PresentationFormat>On-screen Show (16:9)</PresentationFormat>
  <Paragraphs>2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Roboto</vt:lpstr>
      <vt:lpstr>Google Sans</vt:lpstr>
      <vt:lpstr>Wingdings</vt:lpstr>
      <vt:lpstr>Calibri</vt:lpstr>
      <vt:lpstr>Simple Light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rrin T Johnson</dc:creator>
  <cp:lastModifiedBy>Lorrin T Johnson</cp:lastModifiedBy>
  <cp:revision>1</cp:revision>
  <dcterms:modified xsi:type="dcterms:W3CDTF">2024-10-29T16:22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5d47762-d1c3-476b-91fd-63cae19eaafb_Enabled">
    <vt:lpwstr>true</vt:lpwstr>
  </property>
  <property fmtid="{D5CDD505-2E9C-101B-9397-08002B2CF9AE}" pid="3" name="MSIP_Label_d5d47762-d1c3-476b-91fd-63cae19eaafb_SetDate">
    <vt:lpwstr>2024-10-29T16:20:49Z</vt:lpwstr>
  </property>
  <property fmtid="{D5CDD505-2E9C-101B-9397-08002B2CF9AE}" pid="4" name="MSIP_Label_d5d47762-d1c3-476b-91fd-63cae19eaafb_Method">
    <vt:lpwstr>Standard</vt:lpwstr>
  </property>
  <property fmtid="{D5CDD505-2E9C-101B-9397-08002B2CF9AE}" pid="5" name="MSIP_Label_d5d47762-d1c3-476b-91fd-63cae19eaafb_Name">
    <vt:lpwstr>d5d47762-d1c3-476b-91fd-63cae19eaafb</vt:lpwstr>
  </property>
  <property fmtid="{D5CDD505-2E9C-101B-9397-08002B2CF9AE}" pid="6" name="MSIP_Label_d5d47762-d1c3-476b-91fd-63cae19eaafb_SiteId">
    <vt:lpwstr>8e61d5fe-7749-4e76-88ee-6d8799ae8143</vt:lpwstr>
  </property>
  <property fmtid="{D5CDD505-2E9C-101B-9397-08002B2CF9AE}" pid="7" name="MSIP_Label_d5d47762-d1c3-476b-91fd-63cae19eaafb_ActionId">
    <vt:lpwstr>d7887c79-94cb-4bf4-8c5a-da10056a418f</vt:lpwstr>
  </property>
  <property fmtid="{D5CDD505-2E9C-101B-9397-08002B2CF9AE}" pid="8" name="MSIP_Label_d5d47762-d1c3-476b-91fd-63cae19eaafb_ContentBits">
    <vt:lpwstr>0</vt:lpwstr>
  </property>
</Properties>
</file>